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2" r:id="rId2"/>
    <p:sldMasterId id="2147483703" r:id="rId3"/>
  </p:sldMasterIdLst>
  <p:notesMasterIdLst>
    <p:notesMasterId r:id="rId10"/>
  </p:notesMasterIdLst>
  <p:sldIdLst>
    <p:sldId id="2147471081" r:id="rId4"/>
    <p:sldId id="2147470867" r:id="rId5"/>
    <p:sldId id="2147471083" r:id="rId6"/>
    <p:sldId id="285" r:id="rId7"/>
    <p:sldId id="2147471082" r:id="rId8"/>
    <p:sldId id="2147471084" r:id="rId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1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110" y="1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51A9CE-198C-4A0E-8222-5EAB3CA655C3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31D0C-4483-4D5E-BC11-C17F36EC78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2898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2.emf"/><Relationship Id="rId4" Type="http://schemas.openxmlformats.org/officeDocument/2006/relationships/tags" Target="../tags/tag2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image" Target="../media/image4.emf"/><Relationship Id="rId2" Type="http://schemas.openxmlformats.org/officeDocument/2006/relationships/tags" Target="../tags/tag106.xml"/><Relationship Id="rId16" Type="http://schemas.openxmlformats.org/officeDocument/2006/relationships/oleObject" Target="../embeddings/oleObject8.bin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2" Type="http://schemas.openxmlformats.org/officeDocument/2006/relationships/tags" Target="../tags/tag120.xml"/><Relationship Id="rId16" Type="http://schemas.openxmlformats.org/officeDocument/2006/relationships/image" Target="../media/image1.emf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4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image" Target="../media/image2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89.xml"/><Relationship Id="rId7" Type="http://schemas.openxmlformats.org/officeDocument/2006/relationships/oleObject" Target="../embeddings/oleObject4.bin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1.xml"/><Relationship Id="rId4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2" Type="http://schemas.openxmlformats.org/officeDocument/2006/relationships/tags" Target="../tags/tag201.xml"/><Relationship Id="rId16" Type="http://schemas.openxmlformats.org/officeDocument/2006/relationships/image" Target="../media/image1.emf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2" Type="http://schemas.openxmlformats.org/officeDocument/2006/relationships/tags" Target="../tags/tag214.xml"/><Relationship Id="rId16" Type="http://schemas.openxmlformats.org/officeDocument/2006/relationships/image" Target="../media/image1.emf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1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7.bin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tags" Target="../tags/tag252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17" Type="http://schemas.openxmlformats.org/officeDocument/2006/relationships/image" Target="../media/image1.emf"/><Relationship Id="rId2" Type="http://schemas.openxmlformats.org/officeDocument/2006/relationships/tags" Target="../tags/tag241.xml"/><Relationship Id="rId16" Type="http://schemas.openxmlformats.org/officeDocument/2006/relationships/oleObject" Target="../embeddings/oleObject7.bin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5" Type="http://schemas.openxmlformats.org/officeDocument/2006/relationships/tags" Target="../tags/tag24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tags" Target="../tags/tag25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image" Target="../media/image4.emf"/><Relationship Id="rId2" Type="http://schemas.openxmlformats.org/officeDocument/2006/relationships/tags" Target="../tags/tag255.xml"/><Relationship Id="rId16" Type="http://schemas.openxmlformats.org/officeDocument/2006/relationships/oleObject" Target="../embeddings/oleObject8.bin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5" Type="http://schemas.openxmlformats.org/officeDocument/2006/relationships/tags" Target="../tags/tag25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tags" Target="../tags/tag26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.xml"/><Relationship Id="rId7" Type="http://schemas.openxmlformats.org/officeDocument/2006/relationships/oleObject" Target="../embeddings/oleObject4.bin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tags" Target="../tags/tag280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2" Type="http://schemas.openxmlformats.org/officeDocument/2006/relationships/tags" Target="../tags/tag269.xml"/><Relationship Id="rId16" Type="http://schemas.openxmlformats.org/officeDocument/2006/relationships/image" Target="../media/image1.emf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277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86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0.xml"/><Relationship Id="rId1" Type="http://schemas.openxmlformats.org/officeDocument/2006/relationships/tags" Target="../tags/tag28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2" Type="http://schemas.openxmlformats.org/officeDocument/2006/relationships/tags" Target="../tags/tag52.xml"/><Relationship Id="rId16" Type="http://schemas.openxmlformats.org/officeDocument/2006/relationships/image" Target="../media/image1.emf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2" Type="http://schemas.openxmlformats.org/officeDocument/2006/relationships/tags" Target="../tags/tag65.xml"/><Relationship Id="rId16" Type="http://schemas.openxmlformats.org/officeDocument/2006/relationships/image" Target="../media/image1.emf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image" Target="../media/image1.emf"/><Relationship Id="rId2" Type="http://schemas.openxmlformats.org/officeDocument/2006/relationships/tags" Target="../tags/tag78.xml"/><Relationship Id="rId16" Type="http://schemas.openxmlformats.org/officeDocument/2006/relationships/oleObject" Target="../embeddings/oleObject7.bin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image" Target="../media/image1.emf"/><Relationship Id="rId2" Type="http://schemas.openxmlformats.org/officeDocument/2006/relationships/tags" Target="../tags/tag92.xml"/><Relationship Id="rId16" Type="http://schemas.openxmlformats.org/officeDocument/2006/relationships/oleObject" Target="../embeddings/oleObject7.bin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55294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032818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4876179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</p:spTree>
    <p:extLst>
      <p:ext uri="{BB962C8B-B14F-4D97-AF65-F5344CB8AC3E}">
        <p14:creationId xmlns:p14="http://schemas.microsoft.com/office/powerpoint/2010/main" val="176137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106619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6773858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8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00" lvl="1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00" lvl="2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00" lvl="3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000" lvl="4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5" name="Google Shape;13;p38">
            <a:extLst>
              <a:ext uri="{FF2B5EF4-FFF2-40B4-BE49-F238E27FC236}">
                <a16:creationId xmlns:a16="http://schemas.microsoft.com/office/drawing/2014/main" id="{D4D1A348-40FE-1447-81CE-FE09F29F698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118691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Google Shape;13;p38">
            <a:extLst>
              <a:ext uri="{FF2B5EF4-FFF2-40B4-BE49-F238E27FC236}">
                <a16:creationId xmlns:a16="http://schemas.microsoft.com/office/drawing/2014/main" id="{CAD07A3F-36D5-1048-A077-B86C0D0FCB4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267012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5697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5DDE-08ED-4939-B42D-FCE998A24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D3418-51D4-5391-448E-744257B6D5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BE5C14E-9F3C-E044-4B8C-5BF995BDD9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mpany Name</a:t>
            </a:r>
            <a:endParaRPr lang="en-D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00485C-8F67-920E-49CB-9AB93BAAA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50CA70B-A3EC-A048-ABBD-42CEA7B77B28}" type="slidenum">
              <a:rPr lang="en-DK" smtClean="0"/>
              <a:pPr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740476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41"/>
          <p:cNvSpPr txBox="1"/>
          <p:nvPr/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Company Name</a:t>
            </a:r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41"/>
          <p:cNvSpPr txBox="1"/>
          <p:nvPr/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2807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4708043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257594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335397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9619635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6578898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5684867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7210843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7468412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180234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7430994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29573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9956797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5761395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</p:spTree>
    <p:extLst>
      <p:ext uri="{BB962C8B-B14F-4D97-AF65-F5344CB8AC3E}">
        <p14:creationId xmlns:p14="http://schemas.microsoft.com/office/powerpoint/2010/main" val="35785546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6747524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429156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EA2B47-10D4-7DBD-8DB4-FE8BB182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5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EA2B47-10D4-7DBD-8DB4-FE8BB1823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3;p38">
            <a:extLst>
              <a:ext uri="{FF2B5EF4-FFF2-40B4-BE49-F238E27FC236}">
                <a16:creationId xmlns:a16="http://schemas.microsoft.com/office/drawing/2014/main" id="{80EE66BF-B90E-BB4C-AA8F-835FC7CC588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4" name="Google Shape;13;p38">
            <a:extLst>
              <a:ext uri="{FF2B5EF4-FFF2-40B4-BE49-F238E27FC236}">
                <a16:creationId xmlns:a16="http://schemas.microsoft.com/office/drawing/2014/main" id="{1EB9819E-3DFE-56B3-6789-17704A7BB8F5}"/>
              </a:ext>
            </a:extLst>
          </p:cNvPr>
          <p:cNvSpPr txBox="1">
            <a:spLocks/>
          </p:cNvSpPr>
          <p:nvPr userDrawn="1"/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51045C4-024B-CA7B-E270-32B5FE04C1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2545235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8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00" lvl="1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00" lvl="2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00" lvl="3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000" lvl="4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5" name="Google Shape;13;p38">
            <a:extLst>
              <a:ext uri="{FF2B5EF4-FFF2-40B4-BE49-F238E27FC236}">
                <a16:creationId xmlns:a16="http://schemas.microsoft.com/office/drawing/2014/main" id="{D4D1A348-40FE-1447-81CE-FE09F29F698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7070607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Google Shape;13;p38">
            <a:extLst>
              <a:ext uri="{FF2B5EF4-FFF2-40B4-BE49-F238E27FC236}">
                <a16:creationId xmlns:a16="http://schemas.microsoft.com/office/drawing/2014/main" id="{CAD07A3F-36D5-1048-A077-B86C0D0FCB4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0610495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82614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5DDE-08ED-4939-B42D-FCE998A24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D3418-51D4-5391-448E-744257B6D5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BE5C14E-9F3C-E044-4B8C-5BF995BDD9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mpany Name</a:t>
            </a:r>
            <a:endParaRPr lang="en-D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00485C-8F67-920E-49CB-9AB93BAAA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50CA70B-A3EC-A048-ABBD-42CEA7B77B28}" type="slidenum">
              <a:rPr lang="en-DK" smtClean="0"/>
              <a:pPr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6454652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41"/>
          <p:cNvSpPr txBox="1"/>
          <p:nvPr/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Company Name</a:t>
            </a:r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41"/>
          <p:cNvSpPr txBox="1"/>
          <p:nvPr/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113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7575637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BC63-F4B3-4FD6-ADD9-473297A0BD43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5072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8FADB-B141-4094-A5E0-C9C3ED8E47F1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498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AF1CF-A0D2-4997-8FA2-994DC46AB8D0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4552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AA5C0-09EE-4DB9-B296-6ED1D9F3AD3D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439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0B2A-F4FE-400E-9AA9-F2AA2303A7D6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3094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AFDD8-C393-4283-8843-DB0D86392859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4857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3BA1A-6B57-4595-BDA5-BAFD7F9ABA9A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437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12734-7464-417D-974C-58869B70D082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7999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0B56F-5B59-43B5-89B4-D2B1E241CB39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9513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FD8CF-87EE-48AF-A382-6E93706B1CA5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8780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2132160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B8433C-AFAF-40FD-AAF1-792586574250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103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629131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016610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5863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927815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tags" Target="../tags/tag1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20" Type="http://schemas.openxmlformats.org/officeDocument/2006/relationships/theme" Target="../theme/theme1.xml"/><Relationship Id="rId41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154.xml"/><Relationship Id="rId39" Type="http://schemas.openxmlformats.org/officeDocument/2006/relationships/tags" Target="../tags/tag167.xml"/><Relationship Id="rId21" Type="http://schemas.openxmlformats.org/officeDocument/2006/relationships/theme" Target="../theme/theme2.xml"/><Relationship Id="rId34" Type="http://schemas.openxmlformats.org/officeDocument/2006/relationships/tags" Target="../tags/tag162.xml"/><Relationship Id="rId42" Type="http://schemas.openxmlformats.org/officeDocument/2006/relationships/tags" Target="../tags/tag170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57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52.xml"/><Relationship Id="rId32" Type="http://schemas.openxmlformats.org/officeDocument/2006/relationships/tags" Target="../tags/tag160.xml"/><Relationship Id="rId37" Type="http://schemas.openxmlformats.org/officeDocument/2006/relationships/tags" Target="../tags/tag165.xml"/><Relationship Id="rId40" Type="http://schemas.openxmlformats.org/officeDocument/2006/relationships/tags" Target="../tags/tag168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tags" Target="../tags/tag16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tags" Target="../tags/tag159.xml"/><Relationship Id="rId44" Type="http://schemas.openxmlformats.org/officeDocument/2006/relationships/tags" Target="../tags/tag17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tags" Target="../tags/tag158.xml"/><Relationship Id="rId35" Type="http://schemas.openxmlformats.org/officeDocument/2006/relationships/tags" Target="../tags/tag163.xml"/><Relationship Id="rId43" Type="http://schemas.openxmlformats.org/officeDocument/2006/relationships/tags" Target="../tags/tag171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153.xml"/><Relationship Id="rId33" Type="http://schemas.openxmlformats.org/officeDocument/2006/relationships/tags" Target="../tags/tag161.xml"/><Relationship Id="rId38" Type="http://schemas.openxmlformats.org/officeDocument/2006/relationships/tags" Target="../tags/tag166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39.xml"/><Relationship Id="rId41" Type="http://schemas.openxmlformats.org/officeDocument/2006/relationships/tags" Target="../tags/tag16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0540051" y="6499381"/>
            <a:ext cx="737381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 err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UniversaLegal</a:t>
            </a:r>
            <a:endParaRPr lang="en-US" sz="900" kern="12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2578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7" r:id="rId15"/>
    <p:sldLayoutId id="2147483678" r:id="rId16"/>
    <p:sldLayoutId id="2147483679" r:id="rId17"/>
    <p:sldLayoutId id="2147483680" r:id="rId18"/>
    <p:sldLayoutId id="2147483681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10540051" y="6499381"/>
            <a:ext cx="737381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 err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UniversaLegal</a:t>
            </a:r>
            <a:endParaRPr lang="en-US" sz="900" kern="12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7567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C76FFF-C62D-473B-ADB2-AC4987EC22FC}" type="datetime1">
              <a:rPr lang="en-US" altLang="zh-CN" smtClean="0"/>
              <a:t>2/2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age </a:t>
            </a:r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96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hdr="0" ftr="0" dt="0"/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01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universalegal.bosseconbizchamps.org/" TargetMode="Externa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1914E-84F1-41E2-2ECD-D187FCB7E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519680"/>
            <a:ext cx="10393964" cy="1451832"/>
          </a:xfrm>
          <a:noFill/>
        </p:spPr>
        <p:txBody>
          <a:bodyPr>
            <a:normAutofit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UniversaLega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7290C0-6165-3DBD-C55C-3AD3B5D63A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1" y="4092559"/>
            <a:ext cx="4597575" cy="307777"/>
          </a:xfrm>
          <a:noFill/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mocratizing Legal Services through an AI-Powered Three-Sided Marketpla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F0E783-A7C4-C6AE-DC4A-D5119163D9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941" y="5011870"/>
            <a:ext cx="6255258" cy="215444"/>
          </a:xfrm>
          <a:noFill/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2025 </a:t>
            </a:r>
            <a:r>
              <a:rPr lang="en-US" altLang="zh-CN" dirty="0">
                <a:solidFill>
                  <a:schemeClr val="tx1"/>
                </a:solidFill>
              </a:rPr>
              <a:t>Mar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5A5291-C629-8C68-229B-CAAA25D8D8AE}"/>
              </a:ext>
            </a:extLst>
          </p:cNvPr>
          <p:cNvSpPr txBox="1"/>
          <p:nvPr/>
        </p:nvSpPr>
        <p:spPr>
          <a:xfrm>
            <a:off x="-1116106" y="469302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DK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41AF7E-7E85-9B90-AA0C-488DC7BB275E}"/>
              </a:ext>
            </a:extLst>
          </p:cNvPr>
          <p:cNvSpPr txBox="1"/>
          <p:nvPr/>
        </p:nvSpPr>
        <p:spPr>
          <a:xfrm>
            <a:off x="12895729" y="295835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DK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232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5813C0-49EB-6CA1-D737-EE48C6CDD6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5813C0-49EB-6CA1-D737-EE48C6CDD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579D8B-4611-B928-953C-F7CC010CE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altLang="zh-CN" sz="2800" dirty="0"/>
              <a:t>The Legal Services Crisis</a:t>
            </a:r>
            <a:endParaRPr lang="en-IN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41F258-D9DE-093E-B507-5B2D7B555AF1}"/>
              </a:ext>
            </a:extLst>
          </p:cNvPr>
          <p:cNvSpPr/>
          <p:nvPr/>
        </p:nvSpPr>
        <p:spPr>
          <a:xfrm>
            <a:off x="2054352" y="1903701"/>
            <a:ext cx="1357499" cy="116981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E41B723-678C-40DC-B714-001ADC8578B6}"/>
              </a:ext>
            </a:extLst>
          </p:cNvPr>
          <p:cNvSpPr/>
          <p:nvPr/>
        </p:nvSpPr>
        <p:spPr>
          <a:xfrm>
            <a:off x="2054352" y="3339924"/>
            <a:ext cx="1357499" cy="116981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7%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D89E247-91AF-6FE2-853B-7D0725EDE75B}"/>
              </a:ext>
            </a:extLst>
          </p:cNvPr>
          <p:cNvSpPr/>
          <p:nvPr/>
        </p:nvSpPr>
        <p:spPr>
          <a:xfrm>
            <a:off x="2054352" y="4776148"/>
            <a:ext cx="1357499" cy="116981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1 %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5D0D3B5-448D-4558-AF4A-EAB181443A31}"/>
              </a:ext>
            </a:extLst>
          </p:cNvPr>
          <p:cNvSpPr txBox="1"/>
          <p:nvPr/>
        </p:nvSpPr>
        <p:spPr>
          <a:xfrm>
            <a:off x="3606412" y="2365461"/>
            <a:ext cx="5625019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61F32"/>
              </a:buClr>
              <a:buSzTx/>
              <a:buNone/>
              <a:tabLst/>
              <a:defRPr/>
            </a:pPr>
            <a:r>
              <a:rPr lang="en-US" altLang="zh-CN" sz="1600" dirty="0"/>
              <a:t>of individuals cannot access legal serv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61F3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ACDD8B-2E6B-77F4-367A-0B6D2286988D}"/>
              </a:ext>
            </a:extLst>
          </p:cNvPr>
          <p:cNvSpPr txBox="1"/>
          <p:nvPr/>
        </p:nvSpPr>
        <p:spPr>
          <a:xfrm>
            <a:off x="3411851" y="3744294"/>
            <a:ext cx="5625019" cy="2849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40012" defTabSz="609630">
              <a:lnSpc>
                <a:spcPts val="2400"/>
              </a:lnSpc>
            </a:pPr>
            <a:r>
              <a:rPr lang="en-US" altLang="zh-CN" dirty="0">
                <a:solidFill>
                  <a:srgbClr val="000000"/>
                </a:solidFill>
                <a:latin typeface="Montserrat Classic" panose="020B0604020202020204" charset="0"/>
              </a:rPr>
              <a:t>Boutiques Law Firms can’t get enough clients</a:t>
            </a:r>
            <a:r>
              <a:rPr lang="en-US" altLang="zh-CN" dirty="0">
                <a:solidFill>
                  <a:srgbClr val="000000"/>
                </a:solidFill>
                <a:latin typeface="Montserrat Ultra-Bold" panose="020B0604020202020204" charset="0"/>
              </a:rPr>
              <a:t>…</a:t>
            </a:r>
            <a:endParaRPr lang="en-US" altLang="zh-CN" spc="59" dirty="0">
              <a:solidFill>
                <a:srgbClr val="000000"/>
              </a:solidFill>
              <a:latin typeface="Montserrat Ultra-Bold" panose="020B0604020202020204" charset="0"/>
              <a:ea typeface="League Spartan"/>
              <a:cs typeface="League Spartan"/>
              <a:sym typeface="League Spartan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2AF739C-DDD1-8C57-1174-F75BBEDB36CC}"/>
              </a:ext>
            </a:extLst>
          </p:cNvPr>
          <p:cNvSpPr txBox="1"/>
          <p:nvPr/>
        </p:nvSpPr>
        <p:spPr>
          <a:xfrm>
            <a:off x="3606411" y="4737899"/>
            <a:ext cx="6255219" cy="135543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bg2"/>
                </a:solidFill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40012" defTabSz="609630">
              <a:lnSpc>
                <a:spcPts val="2400"/>
              </a:lnSpc>
            </a:pPr>
            <a:r>
              <a:rPr lang="en-US" altLang="zh-CN" sz="14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Law students are in debt of an avg of </a:t>
            </a:r>
            <a:r>
              <a:rPr lang="en-US" altLang="zh-CN" sz="48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$</a:t>
            </a:r>
            <a:r>
              <a:rPr lang="en-US" altLang="zh-CN" sz="4800" spc="59" dirty="0">
                <a:solidFill>
                  <a:srgbClr val="000000"/>
                </a:solidFill>
                <a:latin typeface="Montserrat Ultra-Bold" panose="020B0604020202020204" charset="0"/>
                <a:ea typeface="League Spartan"/>
                <a:cs typeface="League Spartan"/>
                <a:sym typeface="League Spartan"/>
              </a:rPr>
              <a:t>130,000</a:t>
            </a:r>
            <a:r>
              <a:rPr lang="en-US" altLang="zh-CN" sz="20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,</a:t>
            </a:r>
          </a:p>
          <a:p>
            <a:pPr marL="240012" defTabSz="609630">
              <a:lnSpc>
                <a:spcPts val="2400"/>
              </a:lnSpc>
            </a:pPr>
            <a:endParaRPr lang="en-US" altLang="zh-CN" sz="2000" spc="59" dirty="0">
              <a:solidFill>
                <a:srgbClr val="000000"/>
              </a:solidFill>
              <a:latin typeface="Montserrat Classic" panose="020B0604020202020204" charset="0"/>
              <a:ea typeface="League Spartan"/>
              <a:cs typeface="League Spartan"/>
              <a:sym typeface="League Spartan"/>
            </a:endParaRPr>
          </a:p>
          <a:p>
            <a:pPr marL="240012" defTabSz="609630">
              <a:lnSpc>
                <a:spcPts val="2400"/>
              </a:lnSpc>
            </a:pPr>
            <a:r>
              <a:rPr lang="en-US" altLang="zh-CN" sz="14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while having to go through </a:t>
            </a:r>
            <a:r>
              <a:rPr lang="en-US" altLang="zh-CN" sz="1400" spc="59" dirty="0" err="1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through</a:t>
            </a:r>
            <a:r>
              <a:rPr lang="en-US" altLang="zh-CN" sz="14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 </a:t>
            </a:r>
            <a:r>
              <a:rPr lang="en-US" altLang="zh-CN" sz="4800" spc="59" dirty="0">
                <a:solidFill>
                  <a:srgbClr val="000000"/>
                </a:solidFill>
                <a:latin typeface="Montserrat Ultra-Bold" panose="020B0604020202020204" charset="0"/>
                <a:ea typeface="League Spartan"/>
                <a:cs typeface="League Spartan"/>
                <a:sym typeface="League Spartan"/>
              </a:rPr>
              <a:t>10+ </a:t>
            </a:r>
            <a:r>
              <a:rPr lang="en-US" altLang="zh-CN" sz="1400" spc="59" dirty="0">
                <a:solidFill>
                  <a:srgbClr val="000000"/>
                </a:solidFill>
                <a:latin typeface="Montserrat Classic" panose="020B0604020202020204" charset="0"/>
                <a:ea typeface="League Spartan"/>
                <a:cs typeface="League Spartan"/>
                <a:sym typeface="League Spartan"/>
              </a:rPr>
              <a:t>years of school and work to finally become  an attorney</a:t>
            </a:r>
            <a:r>
              <a:rPr lang="en-US" altLang="zh-CN" sz="1400" spc="59" dirty="0">
                <a:solidFill>
                  <a:srgbClr val="000000"/>
                </a:solidFill>
                <a:latin typeface="Montserrat Ultra-Bold" panose="020B0604020202020204" charset="0"/>
                <a:ea typeface="League Spartan"/>
                <a:cs typeface="League Spartan"/>
                <a:sym typeface="League Spartan"/>
              </a:rPr>
              <a:t>…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50CACB0-2A19-BDB5-3FF9-3F0BDA4D16CB}"/>
              </a:ext>
            </a:extLst>
          </p:cNvPr>
          <p:cNvSpPr txBox="1"/>
          <p:nvPr/>
        </p:nvSpPr>
        <p:spPr>
          <a:xfrm>
            <a:off x="2054352" y="1476082"/>
            <a:ext cx="1357499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n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B5A489-68B4-285F-2E12-3BD53D17809B}"/>
              </a:ext>
            </a:extLst>
          </p:cNvPr>
          <p:cNvCxnSpPr>
            <a:cxnSpLocks/>
          </p:cNvCxnSpPr>
          <p:nvPr/>
        </p:nvCxnSpPr>
        <p:spPr>
          <a:xfrm>
            <a:off x="2054352" y="1773717"/>
            <a:ext cx="1357499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7A1B764-F5A3-66D9-9EBB-518CDEB027E4}"/>
              </a:ext>
            </a:extLst>
          </p:cNvPr>
          <p:cNvSpPr txBox="1"/>
          <p:nvPr/>
        </p:nvSpPr>
        <p:spPr>
          <a:xfrm>
            <a:off x="3606413" y="1476082"/>
            <a:ext cx="5625019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EF15871-D505-0FC3-927A-5DF62D2D27B7}"/>
              </a:ext>
            </a:extLst>
          </p:cNvPr>
          <p:cNvCxnSpPr>
            <a:cxnSpLocks/>
          </p:cNvCxnSpPr>
          <p:nvPr/>
        </p:nvCxnSpPr>
        <p:spPr>
          <a:xfrm>
            <a:off x="3606414" y="1773717"/>
            <a:ext cx="5625018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990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2C75CA-B6B9-08ED-A737-1A10654DE5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2070B2-F445-E7F4-7D4F-082BE1B3F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rchitecture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E95BD902-A169-A83B-213E-1722EE3012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副标题 5">
            <a:extLst>
              <a:ext uri="{FF2B5EF4-FFF2-40B4-BE49-F238E27FC236}">
                <a16:creationId xmlns:a16="http://schemas.microsoft.com/office/drawing/2014/main" id="{2B28D498-BF25-D477-C071-F5B5CCAE58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9F38FECF-B993-8C27-DCC4-2F462AC1DA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20" b="27862"/>
          <a:stretch/>
        </p:blipFill>
        <p:spPr>
          <a:xfrm>
            <a:off x="636834" y="2026840"/>
            <a:ext cx="11000430" cy="391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365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82D3EDA-98FD-39BF-7BB5-509246FF5C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2717"/>
            <a:ext cx="9144000" cy="2387600"/>
          </a:xfrm>
        </p:spPr>
        <p:txBody>
          <a:bodyPr>
            <a:noAutofit/>
          </a:bodyPr>
          <a:lstStyle/>
          <a:p>
            <a:r>
              <a:rPr lang="en-US" altLang="zh-CN" sz="7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r Product</a:t>
            </a:r>
            <a:br>
              <a:rPr lang="en-US" altLang="zh-CN" sz="7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zh-C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</a:t>
            </a:r>
            <a:br>
              <a:rPr lang="en-US" altLang="zh-CN" sz="7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zh-CN" sz="7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enario</a:t>
            </a:r>
            <a:endParaRPr lang="zh-CN" altLang="en-US" sz="7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A97508F-7A7C-E0C5-3C1C-A5F7E33745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868" y="7083965"/>
            <a:ext cx="3788484" cy="189424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6C2DB274-CFE3-F921-E4E7-0866071003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8162" y="7038473"/>
            <a:ext cx="3658874" cy="198522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0F8C14E-6C6A-7E3D-4A01-7FD6CA304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5844" y="7038473"/>
            <a:ext cx="3491954" cy="198522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8E3355CE-C735-D323-E0E0-E1BAD6B62C50}"/>
              </a:ext>
            </a:extLst>
          </p:cNvPr>
          <p:cNvSpPr txBox="1"/>
          <p:nvPr/>
        </p:nvSpPr>
        <p:spPr>
          <a:xfrm>
            <a:off x="8208484" y="2525639"/>
            <a:ext cx="364903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altLang="zh-CN" sz="26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gal HQ</a:t>
            </a:r>
          </a:p>
          <a:p>
            <a:pPr defTabSz="609630"/>
            <a:r>
              <a:rPr lang="en-US" altLang="zh-CN" sz="26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Intelligence Center</a:t>
            </a:r>
          </a:p>
          <a:p>
            <a:pPr defTabSz="609630"/>
            <a:r>
              <a:rPr lang="en-US" altLang="zh-CN" sz="20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ntralizing legal data to power AI-driven insights and value creation.</a:t>
            </a:r>
            <a:endParaRPr lang="zh-CN" altLang="en-US" sz="2000" dirty="0">
              <a:solidFill>
                <a:prstClr val="black"/>
              </a:solidFill>
              <a:latin typeface="Calibri" panose="020F05020202040302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AA43CC5-47A2-F481-693C-0B355F0D6842}"/>
              </a:ext>
            </a:extLst>
          </p:cNvPr>
          <p:cNvSpPr txBox="1"/>
          <p:nvPr/>
        </p:nvSpPr>
        <p:spPr>
          <a:xfrm>
            <a:off x="8172221" y="2443376"/>
            <a:ext cx="37592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altLang="zh-CN" sz="26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s - AI Legal Chatbot </a:t>
            </a:r>
          </a:p>
          <a:p>
            <a:pPr defTabSz="609630"/>
            <a:r>
              <a:rPr lang="en-US" altLang="zh-CN" sz="20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our 24/7 Legal Advisor. Professional legal consultation through natural conversation, powered by advanced AI technology.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FEA5DE6-8CAD-D022-D674-958B59DEEBC7}"/>
              </a:ext>
            </a:extLst>
          </p:cNvPr>
          <p:cNvSpPr txBox="1"/>
          <p:nvPr/>
        </p:nvSpPr>
        <p:spPr>
          <a:xfrm>
            <a:off x="8117036" y="2507496"/>
            <a:ext cx="406399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altLang="zh-CN" sz="2600" b="1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xCraft</a:t>
            </a:r>
            <a:r>
              <a:rPr lang="en-US" altLang="zh-CN" sz="26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Smart Contract </a:t>
            </a:r>
            <a:r>
              <a:rPr lang="en-US" altLang="zh-CN" sz="20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ted contract generation platform. Standardized templates meet customization capabilities, delivering efficiency without compromising expertise.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5089D6C-1862-B51B-6566-72E50D6D10F8}"/>
              </a:ext>
            </a:extLst>
          </p:cNvPr>
          <p:cNvSpPr txBox="1"/>
          <p:nvPr/>
        </p:nvSpPr>
        <p:spPr>
          <a:xfrm>
            <a:off x="11714199" y="6257627"/>
            <a:ext cx="2416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altLang="zh-CN" sz="2800">
                <a:solidFill>
                  <a:prstClr val="black"/>
                </a:solidFill>
                <a:latin typeface="SF Pro Rounded" pitchFamily="50" charset="0"/>
                <a:ea typeface="SF Pro Rounded" pitchFamily="50" charset="0"/>
                <a:cs typeface="SF Pro Rounded" pitchFamily="50" charset="0"/>
              </a:rPr>
              <a:t>3</a:t>
            </a:r>
            <a:endParaRPr lang="zh-CN" altLang="en-US" sz="2800">
              <a:solidFill>
                <a:prstClr val="black"/>
              </a:solidFill>
              <a:latin typeface="SF Pro Rounded" pitchFamily="50" charset="0"/>
              <a:ea typeface="宋体" panose="02010600030101010101" pitchFamily="2" charset="-122"/>
              <a:cs typeface="SF Pro Round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868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7.40741E-7 L 0 -0.19537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76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81481E-6 L 0.00039 -0.3481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17407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4.81481E-6 L -0.00105 -0.34814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7407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81481E-6 L -0.00091 -0.34814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74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9 -0.34814 L 0.09414 -0.82175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88" y="-23681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0.19537 L 0.30833 -0.25663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17" y="-3071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6" presetClass="emph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14 -0.82175 L 0.00039 -0.34815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661" y="23773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05 -0.34814 L -0.2267 -0.82175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289" y="-23681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267 -0.82176 L -0.00105 -0.34814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50" y="23426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1 -0.34814 L -0.53555 -0.82175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771" y="-23843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2" grpId="2"/>
      <p:bldP spid="2" grpId="3"/>
      <p:bldP spid="3" grpId="0"/>
      <p:bldP spid="3" grpId="1"/>
      <p:bldP spid="4" grpId="0"/>
      <p:bldP spid="4" grpId="1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E02E12-DCA5-D53E-DB62-31D0F7CE6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ry It!</a:t>
            </a:r>
            <a:endParaRPr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B3A23E9-B89D-DD58-8051-5F17AD33DD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86578" y="2706833"/>
            <a:ext cx="4618844" cy="276999"/>
          </a:xfrm>
        </p:spPr>
        <p:txBody>
          <a:bodyPr/>
          <a:lstStyle/>
          <a:p>
            <a:pPr algn="ctr"/>
            <a:r>
              <a:rPr lang="en-US" altLang="zh-CN" sz="4800" dirty="0" err="1">
                <a:solidFill>
                  <a:schemeClr val="bg1"/>
                </a:solidFill>
                <a:latin typeface="Artifakt Element Heavy" panose="020B0B03050000020004" pitchFamily="34" charset="0"/>
                <a:ea typeface="Artifakt Element Heavy" panose="020B0B030500000200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versaLegal</a:t>
            </a:r>
            <a:r>
              <a:rPr lang="en-US" altLang="zh-CN" sz="4800" dirty="0">
                <a:solidFill>
                  <a:schemeClr val="bg1"/>
                </a:solidFill>
                <a:latin typeface="Artifakt Element Heavy" panose="020B0B03050000020004" pitchFamily="34" charset="0"/>
                <a:ea typeface="Artifakt Element Heavy" panose="020B0B030500000200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Website</a:t>
            </a:r>
            <a:endParaRPr lang="zh-CN" altLang="en-US" sz="4800" dirty="0">
              <a:solidFill>
                <a:schemeClr val="bg1"/>
              </a:solidFill>
              <a:latin typeface="Artifakt Element Heavy" panose="020B0B03050000020004" pitchFamily="34" charset="0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69B1E06-28FC-63F7-3C5B-B8490A0909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6177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77F46-2806-378D-5599-776D79DAC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>
            <a:extLst>
              <a:ext uri="{FF2B5EF4-FFF2-40B4-BE49-F238E27FC236}">
                <a16:creationId xmlns:a16="http://schemas.microsoft.com/office/drawing/2014/main" id="{DDFD25EB-1235-FDBA-3B5F-6BB7E1760B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86578" y="2863243"/>
            <a:ext cx="4618844" cy="276999"/>
          </a:xfrm>
        </p:spPr>
        <p:txBody>
          <a:bodyPr/>
          <a:lstStyle/>
          <a:p>
            <a:pPr algn="ctr"/>
            <a:r>
              <a:rPr lang="en-US" altLang="zh-CN" sz="6400" dirty="0">
                <a:solidFill>
                  <a:schemeClr val="bg1"/>
                </a:solidFill>
                <a:latin typeface="Artifakt Element Heavy" panose="020B0B03050000020004" pitchFamily="34" charset="0"/>
                <a:ea typeface="Artifakt Element Heavy" panose="020B0B03050000020004" pitchFamily="34" charset="0"/>
              </a:rPr>
              <a:t>Q &amp; A</a:t>
            </a:r>
            <a:endParaRPr lang="zh-CN" altLang="en-US" sz="6400" dirty="0">
              <a:solidFill>
                <a:schemeClr val="bg1"/>
              </a:solidFill>
              <a:latin typeface="Artifakt Element Heavy" panose="020B0B03050000020004" pitchFamily="34" charset="0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C3538105-A79F-E99E-AE32-9B780C0A1A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6CACCDC6-344B-5814-686A-29EF25CD9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6845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heme/theme1.xml><?xml version="1.0" encoding="utf-8"?>
<a:theme xmlns:a="http://schemas.openxmlformats.org/drawingml/2006/main" name="White">
  <a:themeElements>
    <a:clrScheme name="Slideworks Color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00A7F2"/>
      </a:accent1>
      <a:accent2>
        <a:srgbClr val="3478AB"/>
      </a:accent2>
      <a:accent3>
        <a:srgbClr val="1D4769"/>
      </a:accent3>
      <a:accent4>
        <a:srgbClr val="061F32"/>
      </a:accent4>
      <a:accent5>
        <a:srgbClr val="1C3CDF"/>
      </a:accent5>
      <a:accent6>
        <a:srgbClr val="F8BC3B"/>
      </a:accent6>
      <a:hlink>
        <a:srgbClr val="3478AB"/>
      </a:hlink>
      <a:folHlink>
        <a:srgbClr val="8B78AB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1_White">
  <a:themeElements>
    <a:clrScheme name="Slideworks Color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00A7F2"/>
      </a:accent1>
      <a:accent2>
        <a:srgbClr val="3478AB"/>
      </a:accent2>
      <a:accent3>
        <a:srgbClr val="1D4769"/>
      </a:accent3>
      <a:accent4>
        <a:srgbClr val="061F32"/>
      </a:accent4>
      <a:accent5>
        <a:srgbClr val="1C3CDF"/>
      </a:accent5>
      <a:accent6>
        <a:srgbClr val="F8BC3B"/>
      </a:accent6>
      <a:hlink>
        <a:srgbClr val="3478AB"/>
      </a:hlink>
      <a:folHlink>
        <a:srgbClr val="8B78AB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3.xml><?xml version="1.0" encoding="utf-8"?>
<a:theme xmlns:a="http://schemas.openxmlformats.org/drawingml/2006/main" name="Office Theme">
  <a:themeElements>
    <a:clrScheme name="蓝色暖调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71955F1-C026-44E1-8433-9D5E924CD9FE}">
  <we:reference id="wa200006214" version="1.0.0.0" store="en-US" storeType="OMEX"/>
  <we:alternateReferences>
    <we:reference id="WA200006214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372</TotalTime>
  <Words>145</Words>
  <Application>Microsoft Office PowerPoint</Application>
  <PresentationFormat>宽屏</PresentationFormat>
  <Paragraphs>26</Paragraphs>
  <Slides>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0" baseType="lpstr">
      <vt:lpstr>Montserrat Classic</vt:lpstr>
      <vt:lpstr>Montserrat Ultra-Bold</vt:lpstr>
      <vt:lpstr>等线</vt:lpstr>
      <vt:lpstr>Arial</vt:lpstr>
      <vt:lpstr>Artifakt Element Heavy</vt:lpstr>
      <vt:lpstr>Calibri</vt:lpstr>
      <vt:lpstr>Georgia</vt:lpstr>
      <vt:lpstr>Segoe UI</vt:lpstr>
      <vt:lpstr>SF Pro Rounded</vt:lpstr>
      <vt:lpstr>Wingdings</vt:lpstr>
      <vt:lpstr>White</vt:lpstr>
      <vt:lpstr>1_White</vt:lpstr>
      <vt:lpstr>Office Theme</vt:lpstr>
      <vt:lpstr>think-cell Slide</vt:lpstr>
      <vt:lpstr>UniversaLegal</vt:lpstr>
      <vt:lpstr>The Legal Services Crisis</vt:lpstr>
      <vt:lpstr>Architecture</vt:lpstr>
      <vt:lpstr>Our Product and Scenario</vt:lpstr>
      <vt:lpstr>Try It!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even Chen</dc:creator>
  <cp:lastModifiedBy>Steven Chen</cp:lastModifiedBy>
  <cp:revision>4</cp:revision>
  <dcterms:created xsi:type="dcterms:W3CDTF">2025-02-25T16:32:23Z</dcterms:created>
  <dcterms:modified xsi:type="dcterms:W3CDTF">2025-02-28T01:59:37Z</dcterms:modified>
</cp:coreProperties>
</file>